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1" r:id="rId2"/>
  </p:sldIdLst>
  <p:sldSz cx="9144000" cy="6858000" type="screen4x3"/>
  <p:notesSz cx="6858000" cy="9144000"/>
  <p:custDataLst>
    <p:tags r:id="rId4"/>
  </p:custDataLst>
  <p:defaultTextStyle>
    <a:defPPr>
      <a:defRPr lang="zh-TW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Arial" charset="0"/>
        <a:ea typeface="新細明體" pitchFamily="18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4F81BD"/>
    <a:srgbClr val="65D7FF"/>
    <a:srgbClr val="376092"/>
    <a:srgbClr val="ADDB7B"/>
    <a:srgbClr val="00B050"/>
    <a:srgbClr val="0070C0"/>
    <a:srgbClr val="F1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21" autoAdjust="0"/>
    <p:restoredTop sz="93116" autoAdjust="0"/>
  </p:normalViewPr>
  <p:slideViewPr>
    <p:cSldViewPr snapToObjects="1">
      <p:cViewPr varScale="1">
        <p:scale>
          <a:sx n="46" d="100"/>
          <a:sy n="46" d="100"/>
        </p:scale>
        <p:origin x="168" y="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90812D-C6B6-4C92-BF48-9DCD2E729298}" type="datetimeFigureOut">
              <a:rPr lang="zh-CN" altLang="en-US" smtClean="0"/>
              <a:pPr/>
              <a:t>2018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53198A-783A-4429-AC70-B470F760504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73411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8536F-7F68-4614-88C7-A92EA59DFE98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8C7C45-A399-41DA-A9F5-C1B6426B3C1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1BB745-B3C0-4442-867F-0B3406688830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F848B2-7D2D-487F-8AA1-8E69E35302BF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5DC971-20A6-4A5E-B144-D4804A7EB14C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0341F2-63C3-4A40-BB83-56E79B133A5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207751-1B6C-4644-838E-A017E800042B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2CAEF7-C285-48EF-AD60-485BD5A1D403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7B587-B156-4EE1-BCC8-9E70503585C3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3F069B-6B22-4370-B5D2-89BDA8D68D00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4EF9C9-CEEF-40C9-AC56-D01687C0FECE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DAE4CA-7990-4A88-ABB7-EF8EEF06576F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3F292-BDB9-4A16-A149-64F33527FC3B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9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DCADB5-4252-4104-B82A-64830F203453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1774FF-5389-4105-8A66-2A465FE41B2B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C25F27-7D10-41DA-8A61-31B0463BF8D7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49F01C-5B79-4ED5-98FE-AF4CF4653CA2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6D90EF-32C4-4D90-B466-C6D7872893E9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68E532-FEE1-4914-AB27-D4E60D706F28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CDF85A-9873-44DF-8803-B44591DBD78B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16CEB4-BB24-4BBC-8BB0-8092C9AD3ED3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665761-658E-4542-A9C0-47C61F89B75B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標題版面配置區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2051" name="文字版面配置區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B680818-D7AA-438A-9411-1513D07F07A1}" type="datetimeFigureOut">
              <a:rPr lang="zh-TW" altLang="en-US"/>
              <a:pPr>
                <a:defRPr/>
              </a:pPr>
              <a:t>2018/9/9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384A68A-DFE2-4B09-8DFC-1AFC8CC856B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0" imgW="0" imgH="0" progId="">
                  <p:embed/>
                </p:oleObj>
              </mc:Choice>
              <mc:Fallback>
                <p:oleObj name="think-cell Slide" r:id="rId20" imgW="0" imgH="0" progId="">
                  <p:embed/>
                  <p:pic>
                    <p:nvPicPr>
                      <p:cNvPr id="0" name="AutoShape 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文字方塊 2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79613" y="333375"/>
            <a:ext cx="513556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TW" sz="3600" dirty="0"/>
              <a:t>Input &amp; Output  Concept</a:t>
            </a:r>
            <a:endParaRPr lang="zh-TW" altLang="en-US" sz="3600" dirty="0"/>
          </a:p>
        </p:txBody>
      </p:sp>
      <p:sp>
        <p:nvSpPr>
          <p:cNvPr id="1036" name="矩形 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067944" y="1720850"/>
            <a:ext cx="3060000" cy="132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457200">
              <a:spcBef>
                <a:spcPts val="600"/>
              </a:spcBef>
              <a:spcAft>
                <a:spcPts val="600"/>
              </a:spcAft>
            </a:pPr>
            <a:r>
              <a:rPr lang="en-US" altLang="zh-TW" sz="2000" b="1" noProof="1">
                <a:cs typeface="Arial" charset="0"/>
              </a:rPr>
              <a:t>EXAMPLE TEXT</a:t>
            </a:r>
          </a:p>
          <a:p>
            <a:pPr indent="252000">
              <a:spcBef>
                <a:spcPts val="600"/>
              </a:spcBef>
              <a:spcAft>
                <a:spcPts val="600"/>
              </a:spcAft>
              <a:buSzPct val="80000"/>
              <a:buFont typeface="Wingdings" pitchFamily="2" charset="2"/>
              <a:buChar char="l"/>
            </a:pPr>
            <a:r>
              <a:rPr lang="en-US" altLang="zh-TW" sz="2000" noProof="1">
                <a:cs typeface="Arial" charset="0"/>
              </a:rPr>
              <a:t>This is an example text. </a:t>
            </a:r>
          </a:p>
          <a:p>
            <a:pPr indent="252000">
              <a:spcBef>
                <a:spcPts val="600"/>
              </a:spcBef>
              <a:spcAft>
                <a:spcPts val="600"/>
              </a:spcAft>
              <a:buSzPct val="80000"/>
              <a:buFont typeface="Wingdings" pitchFamily="2" charset="2"/>
              <a:buChar char="l"/>
            </a:pPr>
            <a:r>
              <a:rPr lang="en-US" altLang="zh-TW" sz="2000" noProof="1">
                <a:cs typeface="Arial" charset="0"/>
              </a:rPr>
              <a:t>This is an example text.</a:t>
            </a:r>
          </a:p>
        </p:txBody>
      </p:sp>
      <p:grpSp>
        <p:nvGrpSpPr>
          <p:cNvPr id="23" name="群組 22"/>
          <p:cNvGrpSpPr/>
          <p:nvPr/>
        </p:nvGrpSpPr>
        <p:grpSpPr>
          <a:xfrm>
            <a:off x="968851" y="1503363"/>
            <a:ext cx="6992938" cy="4779664"/>
            <a:chOff x="757237" y="1579563"/>
            <a:chExt cx="6992938" cy="4779664"/>
          </a:xfrm>
        </p:grpSpPr>
        <p:sp>
          <p:nvSpPr>
            <p:cNvPr id="5" name="圓形圖 4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757237" y="3540427"/>
              <a:ext cx="2828396" cy="2818800"/>
            </a:xfrm>
            <a:prstGeom prst="pie">
              <a:avLst/>
            </a:prstGeom>
            <a:solidFill>
              <a:srgbClr val="65D7FF"/>
            </a:solidFill>
            <a:ln>
              <a:noFill/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>
                <a:solidFill>
                  <a:schemeClr val="tx1"/>
                </a:solidFill>
              </a:endParaRPr>
            </a:p>
          </p:txBody>
        </p:sp>
        <p:sp>
          <p:nvSpPr>
            <p:cNvPr id="4" name="圓形圖 3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222375" y="4029075"/>
              <a:ext cx="1878013" cy="1871663"/>
            </a:xfrm>
            <a:prstGeom prst="pie">
              <a:avLst/>
            </a:prstGeom>
            <a:solidFill>
              <a:srgbClr val="4F81B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>
                <a:solidFill>
                  <a:schemeClr val="tx1"/>
                </a:solidFill>
              </a:endParaRPr>
            </a:p>
          </p:txBody>
        </p:sp>
        <p:sp>
          <p:nvSpPr>
            <p:cNvPr id="3" name="圓形圖 2"/>
            <p:cNvSpPr/>
            <p:nvPr>
              <p:custDataLst>
                <p:tags r:id="rId7"/>
              </p:custDataLst>
            </p:nvPr>
          </p:nvSpPr>
          <p:spPr bwMode="auto">
            <a:xfrm>
              <a:off x="1689100" y="4497388"/>
              <a:ext cx="946150" cy="944562"/>
            </a:xfrm>
            <a:prstGeom prst="pie">
              <a:avLst/>
            </a:prstGeom>
            <a:solidFill>
              <a:srgbClr val="7030A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>
                <a:solidFill>
                  <a:schemeClr val="bg1"/>
                </a:solidFill>
              </a:endParaRPr>
            </a:p>
          </p:txBody>
        </p:sp>
        <p:sp>
          <p:nvSpPr>
            <p:cNvPr id="7" name="手繪多邊形 6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160588" y="1579563"/>
              <a:ext cx="479425" cy="3402012"/>
            </a:xfrm>
            <a:custGeom>
              <a:avLst/>
              <a:gdLst>
                <a:gd name="connsiteX0" fmla="*/ 0 w 666000"/>
                <a:gd name="connsiteY0" fmla="*/ 0 h 2654045"/>
                <a:gd name="connsiteX1" fmla="*/ 666000 w 666000"/>
                <a:gd name="connsiteY1" fmla="*/ 0 h 2654045"/>
                <a:gd name="connsiteX2" fmla="*/ 666000 w 666000"/>
                <a:gd name="connsiteY2" fmla="*/ 2654045 h 2654045"/>
                <a:gd name="connsiteX3" fmla="*/ 0 w 666000"/>
                <a:gd name="connsiteY3" fmla="*/ 2654045 h 2654045"/>
                <a:gd name="connsiteX4" fmla="*/ 0 w 666000"/>
                <a:gd name="connsiteY4" fmla="*/ 0 h 2654045"/>
                <a:gd name="connsiteX0" fmla="*/ 0 w 666000"/>
                <a:gd name="connsiteY0" fmla="*/ 0 h 2654045"/>
                <a:gd name="connsiteX1" fmla="*/ 355441 w 666000"/>
                <a:gd name="connsiteY1" fmla="*/ 287845 h 2654045"/>
                <a:gd name="connsiteX2" fmla="*/ 666000 w 666000"/>
                <a:gd name="connsiteY2" fmla="*/ 0 h 2654045"/>
                <a:gd name="connsiteX3" fmla="*/ 666000 w 666000"/>
                <a:gd name="connsiteY3" fmla="*/ 2654045 h 2654045"/>
                <a:gd name="connsiteX4" fmla="*/ 0 w 666000"/>
                <a:gd name="connsiteY4" fmla="*/ 2654045 h 2654045"/>
                <a:gd name="connsiteX5" fmla="*/ 0 w 666000"/>
                <a:gd name="connsiteY5" fmla="*/ 0 h 265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6000" h="2654045">
                  <a:moveTo>
                    <a:pt x="0" y="0"/>
                  </a:moveTo>
                  <a:lnTo>
                    <a:pt x="355441" y="287845"/>
                  </a:lnTo>
                  <a:lnTo>
                    <a:pt x="666000" y="0"/>
                  </a:lnTo>
                  <a:lnTo>
                    <a:pt x="666000" y="2654045"/>
                  </a:lnTo>
                  <a:lnTo>
                    <a:pt x="0" y="2654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bg1"/>
                  </a:solidFill>
                </a:rPr>
                <a:t>INPUT 1</a:t>
              </a:r>
              <a:endParaRPr lang="zh-TW" alt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8" name="手繪多邊形 7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632075" y="1579563"/>
              <a:ext cx="479425" cy="3402012"/>
            </a:xfrm>
            <a:custGeom>
              <a:avLst/>
              <a:gdLst>
                <a:gd name="connsiteX0" fmla="*/ 0 w 684000"/>
                <a:gd name="connsiteY0" fmla="*/ 0 h 2654045"/>
                <a:gd name="connsiteX1" fmla="*/ 684000 w 684000"/>
                <a:gd name="connsiteY1" fmla="*/ 0 h 2654045"/>
                <a:gd name="connsiteX2" fmla="*/ 684000 w 684000"/>
                <a:gd name="connsiteY2" fmla="*/ 2654045 h 2654045"/>
                <a:gd name="connsiteX3" fmla="*/ 0 w 684000"/>
                <a:gd name="connsiteY3" fmla="*/ 2654045 h 2654045"/>
                <a:gd name="connsiteX4" fmla="*/ 0 w 684000"/>
                <a:gd name="connsiteY4" fmla="*/ 0 h 2654045"/>
                <a:gd name="connsiteX0" fmla="*/ 0 w 684000"/>
                <a:gd name="connsiteY0" fmla="*/ 0 h 2654045"/>
                <a:gd name="connsiteX1" fmla="*/ 347171 w 684000"/>
                <a:gd name="connsiteY1" fmla="*/ 287845 h 2654045"/>
                <a:gd name="connsiteX2" fmla="*/ 684000 w 684000"/>
                <a:gd name="connsiteY2" fmla="*/ 0 h 2654045"/>
                <a:gd name="connsiteX3" fmla="*/ 684000 w 684000"/>
                <a:gd name="connsiteY3" fmla="*/ 2654045 h 2654045"/>
                <a:gd name="connsiteX4" fmla="*/ 0 w 684000"/>
                <a:gd name="connsiteY4" fmla="*/ 2654045 h 2654045"/>
                <a:gd name="connsiteX5" fmla="*/ 0 w 684000"/>
                <a:gd name="connsiteY5" fmla="*/ 0 h 265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4000" h="2654045">
                  <a:moveTo>
                    <a:pt x="0" y="0"/>
                  </a:moveTo>
                  <a:lnTo>
                    <a:pt x="347171" y="287845"/>
                  </a:lnTo>
                  <a:lnTo>
                    <a:pt x="684000" y="0"/>
                  </a:lnTo>
                  <a:lnTo>
                    <a:pt x="684000" y="2654045"/>
                  </a:lnTo>
                  <a:lnTo>
                    <a:pt x="0" y="2654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anchor="ctr"/>
            <a:lstStyle/>
            <a:p>
              <a:pPr algn="ctr">
                <a:defRPr/>
              </a:pPr>
              <a:r>
                <a:rPr lang="en-US" altLang="zh-TW" sz="2400" dirty="0"/>
                <a:t>INPUT 2</a:t>
              </a:r>
              <a:endParaRPr lang="zh-TW" altLang="en-US" sz="2400" dirty="0"/>
            </a:p>
          </p:txBody>
        </p:sp>
        <p:grpSp>
          <p:nvGrpSpPr>
            <p:cNvPr id="22" name="群組 21"/>
            <p:cNvGrpSpPr/>
            <p:nvPr/>
          </p:nvGrpSpPr>
          <p:grpSpPr>
            <a:xfrm>
              <a:off x="3578225" y="3540125"/>
              <a:ext cx="4171950" cy="1386056"/>
              <a:chOff x="3578225" y="3540125"/>
              <a:chExt cx="4171950" cy="1386056"/>
            </a:xfrm>
          </p:grpSpPr>
          <p:grpSp>
            <p:nvGrpSpPr>
              <p:cNvPr id="1027" name="群組 22"/>
              <p:cNvGrpSpPr>
                <a:grpSpLocks/>
              </p:cNvGrpSpPr>
              <p:nvPr>
                <p:custDataLst>
                  <p:tags r:id="rId12"/>
                </p:custDataLst>
              </p:nvPr>
            </p:nvGrpSpPr>
            <p:grpSpPr bwMode="auto">
              <a:xfrm>
                <a:off x="3578225" y="3540125"/>
                <a:ext cx="4171950" cy="479425"/>
                <a:chOff x="3578111" y="3540427"/>
                <a:chExt cx="4172613" cy="478800"/>
              </a:xfrm>
            </p:grpSpPr>
            <p:sp>
              <p:nvSpPr>
                <p:cNvPr id="18" name="手繪多邊形 17"/>
                <p:cNvSpPr/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6814724" y="3540427"/>
                  <a:ext cx="936000" cy="478800"/>
                </a:xfrm>
                <a:custGeom>
                  <a:avLst/>
                  <a:gdLst>
                    <a:gd name="connsiteX0" fmla="*/ 0 w 2520000"/>
                    <a:gd name="connsiteY0" fmla="*/ 0 h 666000"/>
                    <a:gd name="connsiteX1" fmla="*/ 2520000 w 2520000"/>
                    <a:gd name="connsiteY1" fmla="*/ 0 h 666000"/>
                    <a:gd name="connsiteX2" fmla="*/ 2520000 w 2520000"/>
                    <a:gd name="connsiteY2" fmla="*/ 666000 h 666000"/>
                    <a:gd name="connsiteX3" fmla="*/ 0 w 2520000"/>
                    <a:gd name="connsiteY3" fmla="*/ 666000 h 666000"/>
                    <a:gd name="connsiteX4" fmla="*/ 0 w 2520000"/>
                    <a:gd name="connsiteY4" fmla="*/ 0 h 666000"/>
                    <a:gd name="connsiteX0" fmla="*/ 0 w 2520000"/>
                    <a:gd name="connsiteY0" fmla="*/ 0 h 666000"/>
                    <a:gd name="connsiteX1" fmla="*/ 1727912 w 2520000"/>
                    <a:gd name="connsiteY1" fmla="*/ 0 h 666000"/>
                    <a:gd name="connsiteX2" fmla="*/ 2520000 w 2520000"/>
                    <a:gd name="connsiteY2" fmla="*/ 666000 h 666000"/>
                    <a:gd name="connsiteX3" fmla="*/ 0 w 2520000"/>
                    <a:gd name="connsiteY3" fmla="*/ 666000 h 666000"/>
                    <a:gd name="connsiteX4" fmla="*/ 0 w 2520000"/>
                    <a:gd name="connsiteY4" fmla="*/ 0 h 666000"/>
                    <a:gd name="connsiteX0" fmla="*/ 0 w 2520000"/>
                    <a:gd name="connsiteY0" fmla="*/ 15498 h 681498"/>
                    <a:gd name="connsiteX1" fmla="*/ 1968847 w 2520000"/>
                    <a:gd name="connsiteY1" fmla="*/ 0 h 681498"/>
                    <a:gd name="connsiteX2" fmla="*/ 2520000 w 2520000"/>
                    <a:gd name="connsiteY2" fmla="*/ 681498 h 681498"/>
                    <a:gd name="connsiteX3" fmla="*/ 0 w 2520000"/>
                    <a:gd name="connsiteY3" fmla="*/ 681498 h 681498"/>
                    <a:gd name="connsiteX4" fmla="*/ 0 w 2520000"/>
                    <a:gd name="connsiteY4" fmla="*/ 15498 h 681498"/>
                    <a:gd name="connsiteX0" fmla="*/ 0 w 2520000"/>
                    <a:gd name="connsiteY0" fmla="*/ 15498 h 681498"/>
                    <a:gd name="connsiteX1" fmla="*/ 1968847 w 2520000"/>
                    <a:gd name="connsiteY1" fmla="*/ 0 h 681498"/>
                    <a:gd name="connsiteX2" fmla="*/ 2520000 w 2520000"/>
                    <a:gd name="connsiteY2" fmla="*/ 681498 h 681498"/>
                    <a:gd name="connsiteX3" fmla="*/ 2012984 w 2520000"/>
                    <a:gd name="connsiteY3" fmla="*/ 681498 h 681498"/>
                    <a:gd name="connsiteX4" fmla="*/ 0 w 2520000"/>
                    <a:gd name="connsiteY4" fmla="*/ 15498 h 681498"/>
                    <a:gd name="connsiteX0" fmla="*/ 0 w 2520000"/>
                    <a:gd name="connsiteY0" fmla="*/ 15498 h 681498"/>
                    <a:gd name="connsiteX1" fmla="*/ 1968847 w 2520000"/>
                    <a:gd name="connsiteY1" fmla="*/ 0 h 681498"/>
                    <a:gd name="connsiteX2" fmla="*/ 2520000 w 2520000"/>
                    <a:gd name="connsiteY2" fmla="*/ 681498 h 681498"/>
                    <a:gd name="connsiteX3" fmla="*/ 1969223 w 2520000"/>
                    <a:gd name="connsiteY3" fmla="*/ 681498 h 681498"/>
                    <a:gd name="connsiteX4" fmla="*/ 0 w 2520000"/>
                    <a:gd name="connsiteY4" fmla="*/ 15498 h 681498"/>
                    <a:gd name="connsiteX0" fmla="*/ 376 w 551153"/>
                    <a:gd name="connsiteY0" fmla="*/ 681498 h 681498"/>
                    <a:gd name="connsiteX1" fmla="*/ 0 w 551153"/>
                    <a:gd name="connsiteY1" fmla="*/ 0 h 681498"/>
                    <a:gd name="connsiteX2" fmla="*/ 551153 w 551153"/>
                    <a:gd name="connsiteY2" fmla="*/ 681498 h 681498"/>
                    <a:gd name="connsiteX3" fmla="*/ 376 w 551153"/>
                    <a:gd name="connsiteY3" fmla="*/ 681498 h 68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1153" h="681498">
                      <a:moveTo>
                        <a:pt x="376" y="681498"/>
                      </a:moveTo>
                      <a:cubicBezTo>
                        <a:pt x="251" y="454332"/>
                        <a:pt x="125" y="227166"/>
                        <a:pt x="0" y="0"/>
                      </a:cubicBezTo>
                      <a:lnTo>
                        <a:pt x="551153" y="681498"/>
                      </a:lnTo>
                      <a:lnTo>
                        <a:pt x="376" y="681498"/>
                      </a:lnTo>
                      <a:close/>
                    </a:path>
                  </a:pathLst>
                </a:custGeom>
                <a:solidFill>
                  <a:srgbClr val="65D7FF"/>
                </a:solidFill>
                <a:ln w="3175">
                  <a:solidFill>
                    <a:srgbClr val="65D7FF"/>
                  </a:solidFill>
                </a:ln>
                <a:effectLst>
                  <a:reflection blurRad="6350" stA="52000" endA="300" endPos="35000" dir="5400000" sy="-100000" algn="bl" rotWithShape="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endParaRPr lang="zh-TW" altLang="en-US" sz="2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" name="矩形 18"/>
                <p:cNvSpPr/>
                <p:nvPr>
                  <p:custDataLst>
                    <p:tags r:id="rId18"/>
                  </p:custDataLst>
                </p:nvPr>
              </p:nvSpPr>
              <p:spPr>
                <a:xfrm>
                  <a:off x="3578111" y="3540427"/>
                  <a:ext cx="3240603" cy="477215"/>
                </a:xfrm>
                <a:prstGeom prst="rect">
                  <a:avLst/>
                </a:prstGeom>
                <a:solidFill>
                  <a:srgbClr val="65D7FF"/>
                </a:solidFill>
                <a:ln w="3175">
                  <a:solidFill>
                    <a:srgbClr val="65D7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r>
                    <a:rPr lang="en-US" altLang="zh-TW" sz="2400" dirty="0">
                      <a:solidFill>
                        <a:schemeClr val="tx1"/>
                      </a:solidFill>
                    </a:rPr>
                    <a:t>OUTPUT 3</a:t>
                  </a:r>
                  <a:endParaRPr lang="zh-TW" altLang="en-US" sz="2400" dirty="0"/>
                </a:p>
              </p:txBody>
            </p:sp>
          </p:grpSp>
          <p:grpSp>
            <p:nvGrpSpPr>
              <p:cNvPr id="1037" name="群組 24"/>
              <p:cNvGrpSpPr>
                <a:grpSpLocks/>
              </p:cNvGrpSpPr>
              <p:nvPr>
                <p:custDataLst>
                  <p:tags r:id="rId13"/>
                </p:custDataLst>
              </p:nvPr>
            </p:nvGrpSpPr>
            <p:grpSpPr bwMode="auto">
              <a:xfrm>
                <a:off x="3578225" y="4017963"/>
                <a:ext cx="4171950" cy="479425"/>
                <a:chOff x="3578111" y="4017750"/>
                <a:chExt cx="4172613" cy="478844"/>
              </a:xfrm>
            </p:grpSpPr>
            <p:sp>
              <p:nvSpPr>
                <p:cNvPr id="16" name="矩形 15"/>
                <p:cNvSpPr/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3578111" y="4017750"/>
                  <a:ext cx="3240603" cy="478844"/>
                </a:xfrm>
                <a:prstGeom prst="rect">
                  <a:avLst/>
                </a:prstGeom>
                <a:solidFill>
                  <a:srgbClr val="4F81BD"/>
                </a:solidFill>
                <a:ln w="3175">
                  <a:solidFill>
                    <a:srgbClr val="4F81BD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r>
                    <a:rPr lang="en-US" altLang="zh-TW" sz="2400" dirty="0"/>
                    <a:t>OUTPUT 2</a:t>
                  </a:r>
                  <a:endParaRPr lang="zh-TW" altLang="en-US" sz="2400" dirty="0"/>
                </a:p>
              </p:txBody>
            </p:sp>
            <p:sp>
              <p:nvSpPr>
                <p:cNvPr id="20" name="手繪多邊形 19"/>
                <p:cNvSpPr/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6814724" y="4017750"/>
                  <a:ext cx="936000" cy="478844"/>
                </a:xfrm>
                <a:custGeom>
                  <a:avLst/>
                  <a:gdLst>
                    <a:gd name="connsiteX0" fmla="*/ 0 w 2520000"/>
                    <a:gd name="connsiteY0" fmla="*/ 0 h 666000"/>
                    <a:gd name="connsiteX1" fmla="*/ 2520000 w 2520000"/>
                    <a:gd name="connsiteY1" fmla="*/ 0 h 666000"/>
                    <a:gd name="connsiteX2" fmla="*/ 2520000 w 2520000"/>
                    <a:gd name="connsiteY2" fmla="*/ 666000 h 666000"/>
                    <a:gd name="connsiteX3" fmla="*/ 0 w 2520000"/>
                    <a:gd name="connsiteY3" fmla="*/ 666000 h 666000"/>
                    <a:gd name="connsiteX4" fmla="*/ 0 w 2520000"/>
                    <a:gd name="connsiteY4" fmla="*/ 0 h 666000"/>
                    <a:gd name="connsiteX0" fmla="*/ 0 w 2520000"/>
                    <a:gd name="connsiteY0" fmla="*/ 0 h 666000"/>
                    <a:gd name="connsiteX1" fmla="*/ 1727912 w 2520000"/>
                    <a:gd name="connsiteY1" fmla="*/ 0 h 666000"/>
                    <a:gd name="connsiteX2" fmla="*/ 2520000 w 2520000"/>
                    <a:gd name="connsiteY2" fmla="*/ 666000 h 666000"/>
                    <a:gd name="connsiteX3" fmla="*/ 0 w 2520000"/>
                    <a:gd name="connsiteY3" fmla="*/ 666000 h 666000"/>
                    <a:gd name="connsiteX4" fmla="*/ 0 w 2520000"/>
                    <a:gd name="connsiteY4" fmla="*/ 0 h 666000"/>
                    <a:gd name="connsiteX0" fmla="*/ 0 w 2520000"/>
                    <a:gd name="connsiteY0" fmla="*/ 15498 h 681498"/>
                    <a:gd name="connsiteX1" fmla="*/ 1968847 w 2520000"/>
                    <a:gd name="connsiteY1" fmla="*/ 0 h 681498"/>
                    <a:gd name="connsiteX2" fmla="*/ 2520000 w 2520000"/>
                    <a:gd name="connsiteY2" fmla="*/ 681498 h 681498"/>
                    <a:gd name="connsiteX3" fmla="*/ 0 w 2520000"/>
                    <a:gd name="connsiteY3" fmla="*/ 681498 h 681498"/>
                    <a:gd name="connsiteX4" fmla="*/ 0 w 2520000"/>
                    <a:gd name="connsiteY4" fmla="*/ 15498 h 681498"/>
                    <a:gd name="connsiteX0" fmla="*/ 0 w 2520000"/>
                    <a:gd name="connsiteY0" fmla="*/ 15498 h 681498"/>
                    <a:gd name="connsiteX1" fmla="*/ 1968847 w 2520000"/>
                    <a:gd name="connsiteY1" fmla="*/ 0 h 681498"/>
                    <a:gd name="connsiteX2" fmla="*/ 2520000 w 2520000"/>
                    <a:gd name="connsiteY2" fmla="*/ 681498 h 681498"/>
                    <a:gd name="connsiteX3" fmla="*/ 2012984 w 2520000"/>
                    <a:gd name="connsiteY3" fmla="*/ 681498 h 681498"/>
                    <a:gd name="connsiteX4" fmla="*/ 0 w 2520000"/>
                    <a:gd name="connsiteY4" fmla="*/ 15498 h 681498"/>
                    <a:gd name="connsiteX0" fmla="*/ 0 w 2520000"/>
                    <a:gd name="connsiteY0" fmla="*/ 15498 h 681498"/>
                    <a:gd name="connsiteX1" fmla="*/ 1968847 w 2520000"/>
                    <a:gd name="connsiteY1" fmla="*/ 0 h 681498"/>
                    <a:gd name="connsiteX2" fmla="*/ 2520000 w 2520000"/>
                    <a:gd name="connsiteY2" fmla="*/ 681498 h 681498"/>
                    <a:gd name="connsiteX3" fmla="*/ 1969223 w 2520000"/>
                    <a:gd name="connsiteY3" fmla="*/ 681498 h 681498"/>
                    <a:gd name="connsiteX4" fmla="*/ 0 w 2520000"/>
                    <a:gd name="connsiteY4" fmla="*/ 15498 h 681498"/>
                    <a:gd name="connsiteX0" fmla="*/ 376 w 551153"/>
                    <a:gd name="connsiteY0" fmla="*/ 681498 h 681498"/>
                    <a:gd name="connsiteX1" fmla="*/ 0 w 551153"/>
                    <a:gd name="connsiteY1" fmla="*/ 0 h 681498"/>
                    <a:gd name="connsiteX2" fmla="*/ 551153 w 551153"/>
                    <a:gd name="connsiteY2" fmla="*/ 681498 h 681498"/>
                    <a:gd name="connsiteX3" fmla="*/ 376 w 551153"/>
                    <a:gd name="connsiteY3" fmla="*/ 681498 h 68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51153" h="681498">
                      <a:moveTo>
                        <a:pt x="376" y="681498"/>
                      </a:moveTo>
                      <a:cubicBezTo>
                        <a:pt x="251" y="454332"/>
                        <a:pt x="125" y="227166"/>
                        <a:pt x="0" y="0"/>
                      </a:cubicBezTo>
                      <a:lnTo>
                        <a:pt x="551153" y="681498"/>
                      </a:lnTo>
                      <a:lnTo>
                        <a:pt x="376" y="681498"/>
                      </a:lnTo>
                      <a:close/>
                    </a:path>
                  </a:pathLst>
                </a:custGeom>
                <a:solidFill>
                  <a:srgbClr val="4F81BD"/>
                </a:solidFill>
                <a:ln w="3175">
                  <a:solidFill>
                    <a:srgbClr val="4F81BD"/>
                  </a:solidFill>
                </a:ln>
                <a:effectLst>
                  <a:reflection blurRad="6350" stA="52000" endA="300" endPos="35000" dir="5400000" sy="-100000" algn="bl" rotWithShape="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endParaRPr lang="zh-TW" altLang="en-US" sz="24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7" name="手繪多邊形 16"/>
              <p:cNvSpPr/>
              <p:nvPr>
                <p:custDataLst>
                  <p:tags r:id="rId14"/>
                </p:custDataLst>
              </p:nvPr>
            </p:nvSpPr>
            <p:spPr bwMode="auto">
              <a:xfrm>
                <a:off x="3582000" y="4494181"/>
                <a:ext cx="4146664" cy="432000"/>
              </a:xfrm>
              <a:custGeom>
                <a:avLst/>
                <a:gdLst>
                  <a:gd name="connsiteX0" fmla="*/ 0 w 2520000"/>
                  <a:gd name="connsiteY0" fmla="*/ 0 h 666000"/>
                  <a:gd name="connsiteX1" fmla="*/ 2520000 w 2520000"/>
                  <a:gd name="connsiteY1" fmla="*/ 0 h 666000"/>
                  <a:gd name="connsiteX2" fmla="*/ 2520000 w 2520000"/>
                  <a:gd name="connsiteY2" fmla="*/ 666000 h 666000"/>
                  <a:gd name="connsiteX3" fmla="*/ 0 w 2520000"/>
                  <a:gd name="connsiteY3" fmla="*/ 666000 h 666000"/>
                  <a:gd name="connsiteX4" fmla="*/ 0 w 2520000"/>
                  <a:gd name="connsiteY4" fmla="*/ 0 h 666000"/>
                  <a:gd name="connsiteX0" fmla="*/ 0 w 2520000"/>
                  <a:gd name="connsiteY0" fmla="*/ 5145 h 671145"/>
                  <a:gd name="connsiteX1" fmla="*/ 1655904 w 2520000"/>
                  <a:gd name="connsiteY1" fmla="*/ 0 h 671145"/>
                  <a:gd name="connsiteX2" fmla="*/ 2520000 w 2520000"/>
                  <a:gd name="connsiteY2" fmla="*/ 671145 h 671145"/>
                  <a:gd name="connsiteX3" fmla="*/ 0 w 2520000"/>
                  <a:gd name="connsiteY3" fmla="*/ 671145 h 671145"/>
                  <a:gd name="connsiteX4" fmla="*/ 0 w 2520000"/>
                  <a:gd name="connsiteY4" fmla="*/ 5145 h 671145"/>
                  <a:gd name="connsiteX0" fmla="*/ 0 w 2520000"/>
                  <a:gd name="connsiteY0" fmla="*/ 4862 h 670863"/>
                  <a:gd name="connsiteX1" fmla="*/ 1929467 w 2520000"/>
                  <a:gd name="connsiteY1" fmla="*/ 0 h 670863"/>
                  <a:gd name="connsiteX2" fmla="*/ 2520000 w 2520000"/>
                  <a:gd name="connsiteY2" fmla="*/ 670862 h 670863"/>
                  <a:gd name="connsiteX3" fmla="*/ 0 w 2520000"/>
                  <a:gd name="connsiteY3" fmla="*/ 670862 h 670863"/>
                  <a:gd name="connsiteX4" fmla="*/ 0 w 2520000"/>
                  <a:gd name="connsiteY4" fmla="*/ 4862 h 670863"/>
                  <a:gd name="connsiteX0" fmla="*/ 0 w 2520000"/>
                  <a:gd name="connsiteY0" fmla="*/ 4862 h 670862"/>
                  <a:gd name="connsiteX1" fmla="*/ 1964052 w 2520000"/>
                  <a:gd name="connsiteY1" fmla="*/ 0 h 670862"/>
                  <a:gd name="connsiteX2" fmla="*/ 2520000 w 2520000"/>
                  <a:gd name="connsiteY2" fmla="*/ 670862 h 670862"/>
                  <a:gd name="connsiteX3" fmla="*/ 0 w 2520000"/>
                  <a:gd name="connsiteY3" fmla="*/ 670862 h 670862"/>
                  <a:gd name="connsiteX4" fmla="*/ 0 w 2520000"/>
                  <a:gd name="connsiteY4" fmla="*/ 4862 h 670862"/>
                  <a:gd name="connsiteX0" fmla="*/ 0 w 2520000"/>
                  <a:gd name="connsiteY0" fmla="*/ 1 h 666001"/>
                  <a:gd name="connsiteX1" fmla="*/ 1964052 w 2520000"/>
                  <a:gd name="connsiteY1" fmla="*/ 14683 h 666001"/>
                  <a:gd name="connsiteX2" fmla="*/ 2520000 w 2520000"/>
                  <a:gd name="connsiteY2" fmla="*/ 666001 h 666001"/>
                  <a:gd name="connsiteX3" fmla="*/ 0 w 2520000"/>
                  <a:gd name="connsiteY3" fmla="*/ 666001 h 666001"/>
                  <a:gd name="connsiteX4" fmla="*/ 0 w 2520000"/>
                  <a:gd name="connsiteY4" fmla="*/ 1 h 666001"/>
                  <a:gd name="connsiteX0" fmla="*/ 0 w 2520000"/>
                  <a:gd name="connsiteY0" fmla="*/ 0 h 666000"/>
                  <a:gd name="connsiteX1" fmla="*/ 1964052 w 2520000"/>
                  <a:gd name="connsiteY1" fmla="*/ 13390 h 666000"/>
                  <a:gd name="connsiteX2" fmla="*/ 2520000 w 2520000"/>
                  <a:gd name="connsiteY2" fmla="*/ 666000 h 666000"/>
                  <a:gd name="connsiteX3" fmla="*/ 0 w 2520000"/>
                  <a:gd name="connsiteY3" fmla="*/ 666000 h 666000"/>
                  <a:gd name="connsiteX4" fmla="*/ 0 w 2520000"/>
                  <a:gd name="connsiteY4" fmla="*/ 0 h 666000"/>
                  <a:gd name="connsiteX0" fmla="*/ 0 w 2520000"/>
                  <a:gd name="connsiteY0" fmla="*/ 0 h 666000"/>
                  <a:gd name="connsiteX1" fmla="*/ 1964052 w 2520000"/>
                  <a:gd name="connsiteY1" fmla="*/ 0 h 666000"/>
                  <a:gd name="connsiteX2" fmla="*/ 2520000 w 2520000"/>
                  <a:gd name="connsiteY2" fmla="*/ 666000 h 666000"/>
                  <a:gd name="connsiteX3" fmla="*/ 0 w 2520000"/>
                  <a:gd name="connsiteY3" fmla="*/ 666000 h 666000"/>
                  <a:gd name="connsiteX4" fmla="*/ 0 w 2520000"/>
                  <a:gd name="connsiteY4" fmla="*/ 0 h 66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20000" h="666000">
                    <a:moveTo>
                      <a:pt x="0" y="0"/>
                    </a:moveTo>
                    <a:lnTo>
                      <a:pt x="1964052" y="0"/>
                    </a:lnTo>
                    <a:lnTo>
                      <a:pt x="2520000" y="666000"/>
                    </a:lnTo>
                    <a:lnTo>
                      <a:pt x="0" y="666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  <a:effectLst>
                <a:reflection blurRad="6350" stA="50000" endA="300" endPos="55000" dir="5400000" sy="-100000" algn="bl" rotWithShape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en-US" altLang="zh-TW" sz="2400" dirty="0">
                    <a:solidFill>
                      <a:schemeClr val="bg1"/>
                    </a:solidFill>
                  </a:rPr>
                  <a:t>OUTPUT 1</a:t>
                </a:r>
                <a:endParaRPr lang="zh-TW" altLang="en-US" sz="24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8" name="矩形 27"/>
            <p:cNvSpPr/>
            <p:nvPr>
              <p:custDataLst>
                <p:tags r:id="rId10"/>
              </p:custDataLst>
            </p:nvPr>
          </p:nvSpPr>
          <p:spPr>
            <a:xfrm>
              <a:off x="3529214" y="3530903"/>
              <a:ext cx="54000" cy="1404000"/>
            </a:xfrm>
            <a:prstGeom prst="rect">
              <a:avLst/>
            </a:prstGeom>
            <a:solidFill>
              <a:srgbClr val="7F7F7F">
                <a:alpha val="50196"/>
              </a:srgbClr>
            </a:solidFill>
            <a:ln>
              <a:noFill/>
            </a:ln>
            <a:effectLst>
              <a:outerShdw blurRad="38100" dist="38100" algn="l" rotWithShape="0">
                <a:schemeClr val="tx1">
                  <a:alpha val="50000"/>
                </a:schemeClr>
              </a:outerShdw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/>
            </a:p>
          </p:txBody>
        </p:sp>
        <p:sp>
          <p:nvSpPr>
            <p:cNvPr id="9" name="手繪多邊形 8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101975" y="1579563"/>
              <a:ext cx="479425" cy="3402012"/>
            </a:xfrm>
            <a:custGeom>
              <a:avLst/>
              <a:gdLst>
                <a:gd name="connsiteX0" fmla="*/ 0 w 684000"/>
                <a:gd name="connsiteY0" fmla="*/ 0 h 2654045"/>
                <a:gd name="connsiteX1" fmla="*/ 684000 w 684000"/>
                <a:gd name="connsiteY1" fmla="*/ 0 h 2654045"/>
                <a:gd name="connsiteX2" fmla="*/ 684000 w 684000"/>
                <a:gd name="connsiteY2" fmla="*/ 2654045 h 2654045"/>
                <a:gd name="connsiteX3" fmla="*/ 0 w 684000"/>
                <a:gd name="connsiteY3" fmla="*/ 2654045 h 2654045"/>
                <a:gd name="connsiteX4" fmla="*/ 0 w 684000"/>
                <a:gd name="connsiteY4" fmla="*/ 0 h 2654045"/>
                <a:gd name="connsiteX0" fmla="*/ 0 w 684000"/>
                <a:gd name="connsiteY0" fmla="*/ 0 h 2654045"/>
                <a:gd name="connsiteX1" fmla="*/ 322002 w 684000"/>
                <a:gd name="connsiteY1" fmla="*/ 287845 h 2654045"/>
                <a:gd name="connsiteX2" fmla="*/ 684000 w 684000"/>
                <a:gd name="connsiteY2" fmla="*/ 0 h 2654045"/>
                <a:gd name="connsiteX3" fmla="*/ 684000 w 684000"/>
                <a:gd name="connsiteY3" fmla="*/ 2654045 h 2654045"/>
                <a:gd name="connsiteX4" fmla="*/ 0 w 684000"/>
                <a:gd name="connsiteY4" fmla="*/ 2654045 h 2654045"/>
                <a:gd name="connsiteX5" fmla="*/ 0 w 684000"/>
                <a:gd name="connsiteY5" fmla="*/ 0 h 265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84000" h="2654045">
                  <a:moveTo>
                    <a:pt x="0" y="0"/>
                  </a:moveTo>
                  <a:lnTo>
                    <a:pt x="322002" y="287845"/>
                  </a:lnTo>
                  <a:lnTo>
                    <a:pt x="684000" y="0"/>
                  </a:lnTo>
                  <a:lnTo>
                    <a:pt x="684000" y="2654045"/>
                  </a:lnTo>
                  <a:lnTo>
                    <a:pt x="0" y="26540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5D7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anchor="ctr"/>
            <a:lstStyle/>
            <a:p>
              <a:pPr algn="ctr">
                <a:defRPr/>
              </a:pPr>
              <a:r>
                <a:rPr lang="en-US" altLang="zh-TW" sz="2400" dirty="0">
                  <a:solidFill>
                    <a:schemeClr val="tx1"/>
                  </a:solidFill>
                </a:rPr>
                <a:t>INPUT 3</a:t>
              </a:r>
              <a:endParaRPr lang="zh-TW" altLang="en-US" sz="2400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RLOtSu7ky3OEywlZJR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AL.W_5g0udz3YOn6.9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0PmuXHlr0i6xscCH4Ln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q1REMmGUSUi4cKyYum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u2gEXUrU2GKZXO80V4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lnlx3SSEObWOPIY8dq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oVaQzwZ02ebaKL_4Id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bK0CkSbkKZQl.zVFh6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JZHYuncU6bBeM7hgea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eW9Kjha0Wy6gwG3FPY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wXNx0VrEKYhygtNy3n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CJ4zQxO0SpLNlcra8N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aksdf2z0KquW9SzlP0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Afy2lZE6pa8.Bq0Pj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iy5vHAUKSlIPHPVMX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FE0rAwzkuUXy5omw6.AA"/>
</p:tagLst>
</file>

<file path=ppt/theme/theme1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5</TotalTime>
  <Words>30</Words>
  <Application>Microsoft Office PowerPoint</Application>
  <PresentationFormat>全屏显示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8" baseType="lpstr">
      <vt:lpstr>新細明體</vt:lpstr>
      <vt:lpstr>宋体</vt:lpstr>
      <vt:lpstr>Arial</vt:lpstr>
      <vt:lpstr>Calibri</vt:lpstr>
      <vt:lpstr>Wingdings</vt:lpstr>
      <vt:lpstr>Office 佈景主題</vt:lpstr>
      <vt:lpstr>think-cell Slide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cp:lastModifiedBy>Mloong</cp:lastModifiedBy>
  <cp:revision>48</cp:revision>
  <dcterms:created xsi:type="dcterms:W3CDTF">2012-10-31T05:44:19Z</dcterms:created>
  <dcterms:modified xsi:type="dcterms:W3CDTF">2018-09-09T09:32:56Z</dcterms:modified>
</cp:coreProperties>
</file>